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697" r:id="rId8"/>
    <p:sldId id="696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6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242AD6-404B-4958-A620-373D08530D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803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76507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4530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818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481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9105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3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7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67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05006" y="2804214"/>
            <a:ext cx="577378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Data Structure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557286"/>
            <a:ext cx="11593145" cy="4282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Apart from different data types such as integer, float, string and Boolean, Python also has data structure which include 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List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Tuple 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Set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Dictionary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structure in Python</a:t>
            </a: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530549"/>
            <a:ext cx="11593145" cy="114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Data structures are collection of data elements that are structured in some manner and are the core of Python programming language. 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structure in Python</a:t>
            </a: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6</TotalTime>
  <Words>73</Words>
  <Application>Microsoft Office PowerPoint</Application>
  <PresentationFormat>Widescreen</PresentationFormat>
  <Paragraphs>1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Gotham Light</vt:lpstr>
      <vt:lpstr>Lato Light</vt:lpstr>
      <vt:lpstr>Times New Roman</vt:lpstr>
      <vt:lpstr>Wingdings</vt:lpstr>
      <vt:lpstr>2_Office Theme</vt:lpstr>
      <vt:lpstr>1_Office Theme</vt:lpstr>
      <vt:lpstr>think-cell Slide</vt:lpstr>
      <vt:lpstr>Introduction to Programming in Python</vt:lpstr>
      <vt:lpstr>Data Structure in Pyth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5</cp:revision>
  <dcterms:created xsi:type="dcterms:W3CDTF">2020-03-16T19:15:12Z</dcterms:created>
  <dcterms:modified xsi:type="dcterms:W3CDTF">2024-05-03T12:3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